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90" y="7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fr-FR" altLang="en-US" dirty="0"/>
              <a:t>Gérez votre entreprise en toute sécurité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HMI version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42938" y="5891275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lang="fr-FR" sz="800" kern="0" dirty="0">
                <a:solidFill>
                  <a:srgbClr val="000000"/>
                </a:solidFill>
              </a:rPr>
              <a:t>Obsolescence, </a:t>
            </a:r>
            <a:r>
              <a:rPr sz="800" kern="0" dirty="0" err="1"/>
              <a:t>Rendement</a:t>
            </a:r>
            <a:r>
              <a:rPr sz="800" kern="0" dirty="0"/>
              <a:t>, </a:t>
            </a:r>
            <a:r>
              <a:rPr lang="fr-FR" sz="800" kern="0" dirty="0"/>
              <a:t>O</a:t>
            </a:r>
            <a:r>
              <a:rPr lang="en-US" sz="800" kern="0" dirty="0" err="1">
                <a:solidFill>
                  <a:srgbClr val="000000"/>
                </a:solidFill>
              </a:rPr>
              <a:t>ptimisation</a:t>
            </a:r>
            <a:r>
              <a:rPr lang="en-US" sz="800" kern="0" dirty="0">
                <a:solidFill>
                  <a:srgbClr val="000000"/>
                </a:solidFill>
              </a:rPr>
              <a:t> des </a:t>
            </a:r>
            <a:r>
              <a:rPr lang="en-US" sz="800" kern="0" dirty="0" err="1">
                <a:solidFill>
                  <a:srgbClr val="000000"/>
                </a:solidFill>
              </a:rPr>
              <a:t>coûts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de-CH" sz="800" kern="0" dirty="0" err="1">
                <a:solidFill>
                  <a:srgbClr val="000000"/>
                </a:solidFill>
              </a:rPr>
              <a:t>E</a:t>
            </a:r>
            <a:r>
              <a:rPr lang="de-CH" altLang="fr-FR" sz="800" dirty="0" err="1">
                <a:solidFill>
                  <a:srgbClr val="000000"/>
                </a:solidFill>
              </a:rPr>
              <a:t>tiqueteuse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, </a:t>
            </a:r>
            <a:r>
              <a:rPr lang="en-US" altLang="it-IT" sz="800" dirty="0" err="1"/>
              <a:t>Rollquattro</a:t>
            </a:r>
            <a:r>
              <a:rPr lang="en-US" altLang="it-IT" sz="800" dirty="0"/>
              <a:t> Evolution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AX28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Empêche les temps d'arrêt plus longs en cas de panne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Fonctionnalités de cybersécurité améliorées disponibles grâce à W10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20% plus rapide sur le démarrage du système et les opérations tactiles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mélioration de la qualité d'image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Meilleure résistance à la chaleur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ugmente les performances et réduit les coûts de maintenance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fr-FR" sz="1200" b="1" dirty="0"/>
              <a:t>Il est temps de passer à Windows 10!</a:t>
            </a:r>
            <a:endParaRPr lang="fr-FR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51389" y="2259383"/>
            <a:ext cx="3858418" cy="2021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Le nouveau système avec panneau IHM B&amp;R 2200, basé sur Windows 10, se compose d'une nouvelle IHM plug &amp; </a:t>
            </a:r>
            <a:r>
              <a:rPr lang="fr-FR" sz="1150" dirty="0" err="1">
                <a:solidFill>
                  <a:srgbClr val="000000"/>
                </a:solidFill>
              </a:rPr>
              <a:t>play</a:t>
            </a:r>
            <a:r>
              <a:rPr lang="fr-FR" sz="1150" dirty="0">
                <a:solidFill>
                  <a:srgbClr val="000000"/>
                </a:solidFill>
              </a:rPr>
              <a:t> avec la même taille d'écran basée sur Windows 10. Il inclut le chiffrement de sauvegarde logicielle et le portage de la plate-forme existante (WCE, W7…) vers W10.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Aucune modification ne sera appliquée à la mise en page graphique, ne sera effectuée qu'une conversion. 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Il comprend le matériel et le document avec les procédures d'installation. </a:t>
            </a:r>
          </a:p>
        </p:txBody>
      </p:sp>
      <p:pic>
        <p:nvPicPr>
          <p:cNvPr id="24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1011915E-781F-4B2E-8122-265D275DF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48363" y="4714897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">
            <a:extLst>
              <a:ext uri="{FF2B5EF4-FFF2-40B4-BE49-F238E27FC236}">
                <a16:creationId xmlns:a16="http://schemas.microsoft.com/office/drawing/2014/main" id="{0AB95EED-7775-4E05-A6C6-E4EAB6546C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8727" y="5629086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200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CE5A943-2A68-403B-BC38-5BCBDECEE74F}"/>
              </a:ext>
            </a:extLst>
          </p:cNvPr>
          <p:cNvGrpSpPr/>
          <p:nvPr/>
        </p:nvGrpSpPr>
        <p:grpSpPr>
          <a:xfrm>
            <a:off x="6665815" y="4714897"/>
            <a:ext cx="1359830" cy="1002610"/>
            <a:chOff x="3082570" y="2077724"/>
            <a:chExt cx="2443653" cy="163102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4E7F72B-B462-4CBD-9670-871E1D7E4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44BBD8D-0964-4521-9DC2-411AB97DD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9" name="Titel 1">
            <a:extLst>
              <a:ext uri="{FF2B5EF4-FFF2-40B4-BE49-F238E27FC236}">
                <a16:creationId xmlns:a16="http://schemas.microsoft.com/office/drawing/2014/main" id="{B174B252-9DFB-45BD-A480-D89AAC988D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0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2C4408A4-B4C5-4FE2-A767-95B1F73F6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FECC2D2A-5360-48E3-8B86-9B487E480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9F94C4B8-3E54-49CC-93EE-D3ECF35E0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E115A7C9-62A0-4799-A18C-8B92243FAB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041A48D7-88DE-4427-9306-5143642764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A9F3689F-14BE-4352-A4C1-D326301272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21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79</TotalTime>
  <Words>174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Gérez votre entreprise en toute sécur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5</cp:revision>
  <dcterms:created xsi:type="dcterms:W3CDTF">2018-02-10T17:04:39Z</dcterms:created>
  <dcterms:modified xsi:type="dcterms:W3CDTF">2021-05-18T12:2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21:48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